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6" r:id="rId1"/>
  </p:sldMasterIdLst>
  <p:notesMasterIdLst>
    <p:notesMasterId r:id="rId24"/>
  </p:notesMasterIdLst>
  <p:sldIdLst>
    <p:sldId id="256" r:id="rId2"/>
    <p:sldId id="282" r:id="rId3"/>
    <p:sldId id="260" r:id="rId4"/>
    <p:sldId id="258" r:id="rId5"/>
    <p:sldId id="261" r:id="rId6"/>
    <p:sldId id="262" r:id="rId7"/>
    <p:sldId id="263" r:id="rId8"/>
    <p:sldId id="264" r:id="rId9"/>
    <p:sldId id="265" r:id="rId10"/>
    <p:sldId id="267" r:id="rId11"/>
    <p:sldId id="269" r:id="rId12"/>
    <p:sldId id="268" r:id="rId13"/>
    <p:sldId id="270" r:id="rId14"/>
    <p:sldId id="271" r:id="rId15"/>
    <p:sldId id="272" r:id="rId16"/>
    <p:sldId id="274" r:id="rId17"/>
    <p:sldId id="276" r:id="rId18"/>
    <p:sldId id="275" r:id="rId19"/>
    <p:sldId id="278" r:id="rId20"/>
    <p:sldId id="279" r:id="rId21"/>
    <p:sldId id="280" r:id="rId22"/>
    <p:sldId id="281" r:id="rId23"/>
  </p:sldIdLst>
  <p:sldSz cx="9144000" cy="6858000" type="screen4x3"/>
  <p:notesSz cx="6858000" cy="9144000"/>
  <p:custDataLst>
    <p:tags r:id="rId2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5" d="100"/>
          <a:sy n="75" d="100"/>
        </p:scale>
        <p:origin x="-1236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533BC1-6F03-4BE0-84D1-DB75754BF2DD}" type="datetimeFigureOut">
              <a:rPr lang="es-ES" smtClean="0"/>
              <a:t>17/06/20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EBB7CB-A36B-4672-AD11-0E22A4B40D4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237571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EBB7CB-A36B-4672-AD11-0E22A4B40D4D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444056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22 Rectángulo"/>
          <p:cNvSpPr/>
          <p:nvPr/>
        </p:nvSpPr>
        <p:spPr>
          <a:xfrm flipV="1">
            <a:off x="5410182" y="3810000"/>
            <a:ext cx="3733819" cy="910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4" name="23 Rectángulo"/>
          <p:cNvSpPr/>
          <p:nvPr/>
        </p:nvSpPr>
        <p:spPr>
          <a:xfrm flipV="1">
            <a:off x="5410200" y="3897010"/>
            <a:ext cx="3733801" cy="192024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5" name="24 Rectángulo"/>
          <p:cNvSpPr/>
          <p:nvPr/>
        </p:nvSpPr>
        <p:spPr>
          <a:xfrm flipV="1">
            <a:off x="5410200" y="4115167"/>
            <a:ext cx="3733801" cy="9144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6" name="25 Rectángulo"/>
          <p:cNvSpPr/>
          <p:nvPr/>
        </p:nvSpPr>
        <p:spPr>
          <a:xfrm flipV="1">
            <a:off x="5410200" y="4164403"/>
            <a:ext cx="1965960" cy="18288"/>
          </a:xfrm>
          <a:prstGeom prst="rect">
            <a:avLst/>
          </a:prstGeom>
          <a:solidFill>
            <a:schemeClr val="accent2">
              <a:alpha val="6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7" name="26 Rectángulo"/>
          <p:cNvSpPr/>
          <p:nvPr/>
        </p:nvSpPr>
        <p:spPr>
          <a:xfrm flipV="1">
            <a:off x="5410200" y="4199572"/>
            <a:ext cx="1965960" cy="9144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30" name="29 Rectángulo redondeado"/>
          <p:cNvSpPr/>
          <p:nvPr/>
        </p:nvSpPr>
        <p:spPr bwMode="white">
          <a:xfrm>
            <a:off x="5410200" y="3962400"/>
            <a:ext cx="3063240" cy="2743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31" name="30 Rectángulo redondeado"/>
          <p:cNvSpPr/>
          <p:nvPr/>
        </p:nvSpPr>
        <p:spPr bwMode="white">
          <a:xfrm>
            <a:off x="7376507" y="4060983"/>
            <a:ext cx="1600200" cy="36576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7" name="6 Rectángulo"/>
          <p:cNvSpPr/>
          <p:nvPr/>
        </p:nvSpPr>
        <p:spPr>
          <a:xfrm>
            <a:off x="1" y="3649662"/>
            <a:ext cx="9144000" cy="244170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9 Rectángulo"/>
          <p:cNvSpPr/>
          <p:nvPr/>
        </p:nvSpPr>
        <p:spPr>
          <a:xfrm>
            <a:off x="0" y="3675527"/>
            <a:ext cx="9144001" cy="14067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10 Rectángulo"/>
          <p:cNvSpPr/>
          <p:nvPr/>
        </p:nvSpPr>
        <p:spPr>
          <a:xfrm flipV="1">
            <a:off x="6414051" y="3643090"/>
            <a:ext cx="2729950" cy="2484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9" name="18 Rectángulo"/>
          <p:cNvSpPr/>
          <p:nvPr/>
        </p:nvSpPr>
        <p:spPr>
          <a:xfrm>
            <a:off x="0" y="0"/>
            <a:ext cx="9144000" cy="3701700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7 Título"/>
          <p:cNvSpPr>
            <a:spLocks noGrp="1"/>
          </p:cNvSpPr>
          <p:nvPr>
            <p:ph type="ctrTitle"/>
          </p:nvPr>
        </p:nvSpPr>
        <p:spPr>
          <a:xfrm>
            <a:off x="457200" y="2401887"/>
            <a:ext cx="8458200" cy="1470025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9" name="8 Subtítulo"/>
          <p:cNvSpPr>
            <a:spLocks noGrp="1"/>
          </p:cNvSpPr>
          <p:nvPr>
            <p:ph type="subTitle" idx="1"/>
          </p:nvPr>
        </p:nvSpPr>
        <p:spPr>
          <a:xfrm>
            <a:off x="457200" y="3899938"/>
            <a:ext cx="4953000" cy="1752600"/>
          </a:xfrm>
        </p:spPr>
        <p:txBody>
          <a:bodyPr/>
          <a:lstStyle>
            <a:lvl1pPr marL="64008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s-ES" smtClean="0"/>
              <a:t>Haga clic para modificar el estilo de subtítulo del patrón</a:t>
            </a:r>
            <a:endParaRPr kumimoji="0" lang="en-US"/>
          </a:p>
        </p:txBody>
      </p:sp>
      <p:sp>
        <p:nvSpPr>
          <p:cNvPr id="28" name="27 Marcador de fecha"/>
          <p:cNvSpPr>
            <a:spLocks noGrp="1"/>
          </p:cNvSpPr>
          <p:nvPr>
            <p:ph type="dt" sz="half" idx="10"/>
          </p:nvPr>
        </p:nvSpPr>
        <p:spPr>
          <a:xfrm>
            <a:off x="6705600" y="4206240"/>
            <a:ext cx="960120" cy="457200"/>
          </a:xfrm>
        </p:spPr>
        <p:txBody>
          <a:bodyPr/>
          <a:lstStyle/>
          <a:p>
            <a:fld id="{B3D7B70E-3F4C-4810-8647-F37457DF84A6}" type="datetimeFigureOut">
              <a:rPr lang="es-ES" smtClean="0"/>
              <a:t>17/06/20</a:t>
            </a:fld>
            <a:endParaRPr lang="es-ES"/>
          </a:p>
        </p:txBody>
      </p:sp>
      <p:sp>
        <p:nvSpPr>
          <p:cNvPr id="17" name="16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5410200" y="4205288"/>
            <a:ext cx="1295400" cy="457200"/>
          </a:xfrm>
        </p:spPr>
        <p:txBody>
          <a:bodyPr/>
          <a:lstStyle/>
          <a:p>
            <a:endParaRPr lang="es-ES"/>
          </a:p>
        </p:txBody>
      </p:sp>
      <p:sp>
        <p:nvSpPr>
          <p:cNvPr id="29" name="2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320088" y="1136"/>
            <a:ext cx="747712" cy="365760"/>
          </a:xfrm>
        </p:spPr>
        <p:txBody>
          <a:bodyPr/>
          <a:lstStyle>
            <a:lvl1pPr algn="r">
              <a:defRPr sz="1800">
                <a:solidFill>
                  <a:schemeClr val="bg1"/>
                </a:solidFill>
              </a:defRPr>
            </a:lvl1pPr>
          </a:lstStyle>
          <a:p>
            <a:fld id="{E6D54D32-3B20-46F2-9CDC-4E6B0CCBC05E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7B70E-3F4C-4810-8647-F37457DF84A6}" type="datetimeFigureOut">
              <a:rPr lang="es-ES" smtClean="0"/>
              <a:t>17/06/20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54D32-3B20-46F2-9CDC-4E6B0CCBC05E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781800" y="1143000"/>
            <a:ext cx="1905000" cy="5486400"/>
          </a:xfrm>
        </p:spPr>
        <p:txBody>
          <a:bodyPr vert="eaVert"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1143000"/>
            <a:ext cx="6248400" cy="5486400"/>
          </a:xfrm>
        </p:spPr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7B70E-3F4C-4810-8647-F37457DF84A6}" type="datetimeFigureOut">
              <a:rPr lang="es-ES" smtClean="0"/>
              <a:t>17/06/20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54D32-3B20-46F2-9CDC-4E6B0CCBC05E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7B70E-3F4C-4810-8647-F37457DF84A6}" type="datetimeFigureOut">
              <a:rPr lang="es-ES" smtClean="0"/>
              <a:t>17/06/20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54D32-3B20-46F2-9CDC-4E6B0CCBC05E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1981200"/>
            <a:ext cx="7772400" cy="1362075"/>
          </a:xfrm>
        </p:spPr>
        <p:txBody>
          <a:bodyPr anchor="b">
            <a:noAutofit/>
          </a:bodyPr>
          <a:lstStyle>
            <a:lvl1pPr algn="l">
              <a:buNone/>
              <a:defRPr sz="4300" b="1" cap="none" baseline="0">
                <a:ln w="12700">
                  <a:solidFill>
                    <a:schemeClr val="accent2">
                      <a:shade val="90000"/>
                      <a:satMod val="15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3367088"/>
            <a:ext cx="7772400" cy="1509712"/>
          </a:xfrm>
        </p:spPr>
        <p:txBody>
          <a:bodyPr anchor="t"/>
          <a:lstStyle>
            <a:lvl1pPr marL="45720" indent="0">
              <a:buNone/>
              <a:defRPr sz="2100" b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7B70E-3F4C-4810-8647-F37457DF84A6}" type="datetimeFigureOut">
              <a:rPr lang="es-ES" smtClean="0"/>
              <a:t>17/06/20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54D32-3B20-46F2-9CDC-4E6B0CCBC05E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2249424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2249424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7B70E-3F4C-4810-8647-F37457DF84A6}" type="datetimeFigureOut">
              <a:rPr lang="es-ES" smtClean="0"/>
              <a:t>17/06/20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54D32-3B20-46F2-9CDC-4E6B0CCBC05E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81000" y="1143000"/>
            <a:ext cx="8382000" cy="1069848"/>
          </a:xfrm>
        </p:spPr>
        <p:txBody>
          <a:bodyPr anchor="ctr"/>
          <a:lstStyle>
            <a:lvl1pPr>
              <a:defRPr sz="4000" b="0" i="0" cap="none" baseline="0"/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81000" y="2244970"/>
            <a:ext cx="4041648" cy="4572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3"/>
          </p:nvPr>
        </p:nvSpPr>
        <p:spPr>
          <a:xfrm>
            <a:off x="4721225" y="2244970"/>
            <a:ext cx="4041775" cy="4572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5" name="4 Marcador de contenido"/>
          <p:cNvSpPr>
            <a:spLocks noGrp="1"/>
          </p:cNvSpPr>
          <p:nvPr>
            <p:ph sz="quarter" idx="2"/>
          </p:nvPr>
        </p:nvSpPr>
        <p:spPr>
          <a:xfrm>
            <a:off x="381000" y="2708519"/>
            <a:ext cx="4041648" cy="38862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718304" y="2708519"/>
            <a:ext cx="4041775" cy="38862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26" name="25 Marcador de fech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fld id="{B3D7B70E-3F4C-4810-8647-F37457DF84A6}" type="datetimeFigureOut">
              <a:rPr lang="es-ES" smtClean="0"/>
              <a:t>17/06/20</a:t>
            </a:fld>
            <a:endParaRPr lang="es-ES"/>
          </a:p>
        </p:txBody>
      </p:sp>
      <p:sp>
        <p:nvSpPr>
          <p:cNvPr id="27" name="26 Marcador de número de diapositiva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fld id="{E6D54D32-3B20-46F2-9CDC-4E6B0CCBC05E}" type="slidenum">
              <a:rPr lang="es-ES" smtClean="0"/>
              <a:t>‹Nº›</a:t>
            </a:fld>
            <a:endParaRPr lang="es-ES"/>
          </a:p>
        </p:txBody>
      </p:sp>
      <p:sp>
        <p:nvSpPr>
          <p:cNvPr id="28" name="27 Marcador de pie de página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endParaRPr lang="es-E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143000"/>
            <a:ext cx="8229600" cy="1069848"/>
          </a:xfrm>
        </p:spPr>
        <p:txBody>
          <a:bodyPr anchor="ctr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>
          <a:xfrm>
            <a:off x="6583680" y="612648"/>
            <a:ext cx="957264" cy="457200"/>
          </a:xfrm>
        </p:spPr>
        <p:txBody>
          <a:bodyPr/>
          <a:lstStyle/>
          <a:p>
            <a:fld id="{B3D7B70E-3F4C-4810-8647-F37457DF84A6}" type="datetimeFigureOut">
              <a:rPr lang="es-ES" smtClean="0"/>
              <a:t>17/06/20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5257800" y="612648"/>
            <a:ext cx="1325880" cy="457200"/>
          </a:xfrm>
        </p:spPr>
        <p:txBody>
          <a:bodyPr/>
          <a:lstStyle/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174736" y="2272"/>
            <a:ext cx="762000" cy="365760"/>
          </a:xfrm>
        </p:spPr>
        <p:txBody>
          <a:bodyPr/>
          <a:lstStyle/>
          <a:p>
            <a:fld id="{E6D54D32-3B20-46F2-9CDC-4E6B0CCBC05E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7B70E-3F4C-4810-8647-F37457DF84A6}" type="datetimeFigureOut">
              <a:rPr lang="es-ES" smtClean="0"/>
              <a:t>17/06/20</a:t>
            </a:fld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54D32-3B20-46F2-9CDC-4E6B0CCBC05E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353496" y="1101970"/>
            <a:ext cx="3383280" cy="877824"/>
          </a:xfrm>
        </p:spPr>
        <p:txBody>
          <a:bodyPr anchor="b"/>
          <a:lstStyle>
            <a:lvl1pPr algn="l">
              <a:buNone/>
              <a:defRPr sz="1800" b="1"/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2"/>
          </p:nvPr>
        </p:nvSpPr>
        <p:spPr>
          <a:xfrm>
            <a:off x="5353496" y="2010727"/>
            <a:ext cx="3383280" cy="4617720"/>
          </a:xfrm>
        </p:spPr>
        <p:txBody>
          <a:bodyPr/>
          <a:lstStyle>
            <a:lvl1pPr marL="9144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1"/>
          </p:nvPr>
        </p:nvSpPr>
        <p:spPr>
          <a:xfrm>
            <a:off x="152400" y="776287"/>
            <a:ext cx="5102352" cy="58521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7B70E-3F4C-4810-8647-F37457DF84A6}" type="datetimeFigureOut">
              <a:rPr lang="es-ES" smtClean="0"/>
              <a:t>17/06/20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54D32-3B20-46F2-9CDC-4E6B0CCBC05E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40434" y="1109160"/>
            <a:ext cx="586803" cy="4681637"/>
          </a:xfrm>
        </p:spPr>
        <p:txBody>
          <a:bodyPr vert="vert270" lIns="45720" tIns="0" rIns="45720" anchor="t"/>
          <a:lstStyle>
            <a:lvl1pPr algn="ctr">
              <a:buNone/>
              <a:defRPr sz="2000" b="1"/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403671" y="1143000"/>
            <a:ext cx="4572000" cy="4572000"/>
          </a:xfrm>
          <a:solidFill>
            <a:srgbClr val="EAEAEA"/>
          </a:solidFill>
          <a:ln w="50800">
            <a:solidFill>
              <a:srgbClr val="FFFFFF"/>
            </a:solidFill>
            <a:miter lim="800000"/>
          </a:ln>
          <a:effectLst>
            <a:outerShdw blurRad="57150" dist="31750" dir="4800000" algn="tl" rotWithShape="0">
              <a:srgbClr val="000000">
                <a:alpha val="2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2540">
            <a:bevelT w="25400" h="19050"/>
            <a:contourClr>
              <a:srgbClr val="AEAEAE"/>
            </a:contourClr>
          </a:sp3d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s-ES" smtClean="0"/>
              <a:t>Haga clic en el icono para agregar una imagen</a:t>
            </a:r>
            <a:endParaRPr kumimoji="0" lang="en-U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088443" y="3274308"/>
            <a:ext cx="2590800" cy="2516489"/>
          </a:xfrm>
        </p:spPr>
        <p:txBody>
          <a:bodyPr lIns="0" tIns="0" rIns="4572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7B70E-3F4C-4810-8647-F37457DF84A6}" type="datetimeFigureOut">
              <a:rPr lang="es-ES" smtClean="0"/>
              <a:t>17/06/20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54D32-3B20-46F2-9CDC-4E6B0CCBC05E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27 Rectángulo"/>
          <p:cNvSpPr/>
          <p:nvPr/>
        </p:nvSpPr>
        <p:spPr>
          <a:xfrm>
            <a:off x="1" y="366818"/>
            <a:ext cx="9144000" cy="84407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9" name="28 Rectángulo"/>
          <p:cNvSpPr/>
          <p:nvPr/>
        </p:nvSpPr>
        <p:spPr>
          <a:xfrm>
            <a:off x="0" y="-1"/>
            <a:ext cx="9144000" cy="310663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0" name="29 Rectángulo"/>
          <p:cNvSpPr/>
          <p:nvPr/>
        </p:nvSpPr>
        <p:spPr>
          <a:xfrm>
            <a:off x="0" y="308276"/>
            <a:ext cx="9144001" cy="91441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1" name="30 Rectángulo"/>
          <p:cNvSpPr/>
          <p:nvPr/>
        </p:nvSpPr>
        <p:spPr>
          <a:xfrm flipV="1">
            <a:off x="5410182" y="360246"/>
            <a:ext cx="3733819" cy="910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2" name="31 Rectángulo"/>
          <p:cNvSpPr/>
          <p:nvPr/>
        </p:nvSpPr>
        <p:spPr>
          <a:xfrm flipV="1">
            <a:off x="5410200" y="440112"/>
            <a:ext cx="3733801" cy="18003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33" name="32 Rectángulo redondeado"/>
          <p:cNvSpPr/>
          <p:nvPr/>
        </p:nvSpPr>
        <p:spPr bwMode="white">
          <a:xfrm>
            <a:off x="5407339" y="497504"/>
            <a:ext cx="3063240" cy="2743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34" name="33 Rectángulo redondeado"/>
          <p:cNvSpPr/>
          <p:nvPr/>
        </p:nvSpPr>
        <p:spPr bwMode="white">
          <a:xfrm>
            <a:off x="7373646" y="588943"/>
            <a:ext cx="1600200" cy="36576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5" name="34 Rectángulo"/>
          <p:cNvSpPr/>
          <p:nvPr/>
        </p:nvSpPr>
        <p:spPr bwMode="invGray">
          <a:xfrm>
            <a:off x="9084966" y="-2001"/>
            <a:ext cx="57626" cy="621792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6" name="35 Rectángulo"/>
          <p:cNvSpPr/>
          <p:nvPr/>
        </p:nvSpPr>
        <p:spPr bwMode="invGray">
          <a:xfrm>
            <a:off x="9044481" y="-2001"/>
            <a:ext cx="27432" cy="621792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7" name="36 Rectángulo"/>
          <p:cNvSpPr/>
          <p:nvPr/>
        </p:nvSpPr>
        <p:spPr bwMode="invGray">
          <a:xfrm>
            <a:off x="9025428" y="-2001"/>
            <a:ext cx="9144" cy="621792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8" name="37 Rectángulo"/>
          <p:cNvSpPr/>
          <p:nvPr/>
        </p:nvSpPr>
        <p:spPr bwMode="invGray">
          <a:xfrm>
            <a:off x="8975423" y="-2001"/>
            <a:ext cx="27432" cy="621792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9" name="38 Rectángulo"/>
          <p:cNvSpPr/>
          <p:nvPr/>
        </p:nvSpPr>
        <p:spPr bwMode="invGray">
          <a:xfrm>
            <a:off x="8915677" y="380"/>
            <a:ext cx="54864" cy="585216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40" name="39 Rectángulo"/>
          <p:cNvSpPr/>
          <p:nvPr/>
        </p:nvSpPr>
        <p:spPr bwMode="invGray">
          <a:xfrm>
            <a:off x="8873475" y="380"/>
            <a:ext cx="9144" cy="585216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2" name="21 Marcador de título"/>
          <p:cNvSpPr>
            <a:spLocks noGrp="1"/>
          </p:cNvSpPr>
          <p:nvPr>
            <p:ph type="title"/>
          </p:nvPr>
        </p:nvSpPr>
        <p:spPr>
          <a:xfrm>
            <a:off x="457200" y="1143000"/>
            <a:ext cx="8229600" cy="10668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13" name="12 Marcador de texto"/>
          <p:cNvSpPr>
            <a:spLocks noGrp="1"/>
          </p:cNvSpPr>
          <p:nvPr>
            <p:ph type="body" idx="1"/>
          </p:nvPr>
        </p:nvSpPr>
        <p:spPr>
          <a:xfrm>
            <a:off x="457200" y="2249424"/>
            <a:ext cx="8229600" cy="432511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  <a:p>
            <a:pPr lvl="1" eaLnBrk="1" latinLnBrk="0" hangingPunct="1"/>
            <a:r>
              <a:rPr kumimoji="0" lang="es-ES" smtClean="0"/>
              <a:t>Segundo nivel</a:t>
            </a:r>
          </a:p>
          <a:p>
            <a:pPr lvl="2" eaLnBrk="1" latinLnBrk="0" hangingPunct="1"/>
            <a:r>
              <a:rPr kumimoji="0" lang="es-ES" smtClean="0"/>
              <a:t>Tercer nivel</a:t>
            </a:r>
          </a:p>
          <a:p>
            <a:pPr lvl="3" eaLnBrk="1" latinLnBrk="0" hangingPunct="1"/>
            <a:r>
              <a:rPr kumimoji="0" lang="es-ES" smtClean="0"/>
              <a:t>Cuarto nivel</a:t>
            </a:r>
          </a:p>
          <a:p>
            <a:pPr lvl="4" eaLnBrk="1" latinLnBrk="0" hangingPunct="1"/>
            <a:r>
              <a:rPr kumimoji="0" lang="es-ES" smtClean="0"/>
              <a:t>Quinto nivel</a:t>
            </a:r>
            <a:endParaRPr kumimoji="0" lang="en-US"/>
          </a:p>
        </p:txBody>
      </p:sp>
      <p:sp>
        <p:nvSpPr>
          <p:cNvPr id="14" name="13 Marcador de fecha"/>
          <p:cNvSpPr>
            <a:spLocks noGrp="1"/>
          </p:cNvSpPr>
          <p:nvPr>
            <p:ph type="dt" sz="half" idx="2"/>
          </p:nvPr>
        </p:nvSpPr>
        <p:spPr>
          <a:xfrm>
            <a:off x="6586536" y="612648"/>
            <a:ext cx="957264" cy="45720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800">
                <a:solidFill>
                  <a:schemeClr val="accent2"/>
                </a:solidFill>
              </a:defRPr>
            </a:lvl1pPr>
          </a:lstStyle>
          <a:p>
            <a:fld id="{B3D7B70E-3F4C-4810-8647-F37457DF84A6}" type="datetimeFigureOut">
              <a:rPr lang="es-ES" smtClean="0"/>
              <a:t>17/06/20</a:t>
            </a:fld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5257800" y="612648"/>
            <a:ext cx="1325880" cy="457200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800">
                <a:solidFill>
                  <a:schemeClr val="accent2"/>
                </a:solidFill>
              </a:defRPr>
            </a:lvl1pPr>
          </a:lstStyle>
          <a:p>
            <a:endParaRPr lang="es-ES"/>
          </a:p>
        </p:txBody>
      </p:sp>
      <p:sp>
        <p:nvSpPr>
          <p:cNvPr id="23" name="22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174736" y="2272"/>
            <a:ext cx="762000" cy="365760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800">
                <a:solidFill>
                  <a:srgbClr val="FFFFFF"/>
                </a:solidFill>
              </a:defRPr>
            </a:lvl1pPr>
          </a:lstStyle>
          <a:p>
            <a:fld id="{E6D54D32-3B20-46F2-9CDC-4E6B0CCBC05E}" type="slidenum">
              <a:rPr lang="es-ES" smtClean="0"/>
              <a:t>‹Nº›</a:t>
            </a:fld>
            <a:endParaRPr lang="es-ES"/>
          </a:p>
        </p:txBody>
      </p:sp>
      <p:graphicFrame>
        <p:nvGraphicFramePr>
          <p:cNvPr id="20" name="19 Objeto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61905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Diapositiva de think-cell" r:id="rId16" imgW="270" imgH="270" progId="TCLayout.ActiveDocument.1">
                  <p:embed/>
                </p:oleObj>
              </mc:Choice>
              <mc:Fallback>
                <p:oleObj name="Diapositiva d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20 Rectángulo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ES" sz="4000" b="0" i="0" baseline="0" dirty="0">
              <a:latin typeface="Century Gothic"/>
              <a:ea typeface="+mj-ea"/>
              <a:cs typeface="+mj-cs"/>
              <a:sym typeface="Century Gothic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</p:sldLayoutIdLst>
  <p:txStyles>
    <p:titleStyle>
      <a:lvl1pPr algn="l" rtl="0" eaLnBrk="1" latinLnBrk="0" hangingPunct="1">
        <a:spcBef>
          <a:spcPct val="0"/>
        </a:spcBef>
        <a:buNone/>
        <a:defRPr kumimoji="0"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5760" indent="-256032" algn="l" rtl="0" eaLnBrk="1" latinLnBrk="0" hangingPunct="1">
        <a:spcBef>
          <a:spcPts val="300"/>
        </a:spcBef>
        <a:buClr>
          <a:schemeClr val="accent3"/>
        </a:buClr>
        <a:buFont typeface="Georgia"/>
        <a:buChar char="•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58368" indent="-246888" algn="l" rtl="0" eaLnBrk="1" latinLnBrk="0" hangingPunct="1">
        <a:spcBef>
          <a:spcPts val="300"/>
        </a:spcBef>
        <a:buClr>
          <a:schemeClr val="accent2"/>
        </a:buClr>
        <a:buFont typeface="Georgia"/>
        <a:buChar char="▫"/>
        <a:defRPr kumimoji="0" sz="2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923544" indent="-219456" algn="l" rtl="0" eaLnBrk="1" latinLnBrk="0" hangingPunct="1">
        <a:spcBef>
          <a:spcPts val="300"/>
        </a:spcBef>
        <a:buClr>
          <a:schemeClr val="accent1"/>
        </a:buClr>
        <a:buFont typeface="Wingdings 2"/>
        <a:buChar char=""/>
        <a:defRPr kumimoji="0" sz="2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179576" indent="-201168" algn="l" rtl="0" eaLnBrk="1" latinLnBrk="0" hangingPunct="1">
        <a:spcBef>
          <a:spcPts val="300"/>
        </a:spcBef>
        <a:buClr>
          <a:schemeClr val="accent1"/>
        </a:buClr>
        <a:buFont typeface="Wingdings 2"/>
        <a:buChar char=""/>
        <a:defRPr kumimoji="0" sz="2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389888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20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1609344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800" kern="1200">
          <a:solidFill>
            <a:schemeClr val="accent3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600" kern="1200">
          <a:solidFill>
            <a:schemeClr val="accent3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500" kern="1200">
          <a:solidFill>
            <a:schemeClr val="accent3"/>
          </a:solidFill>
          <a:latin typeface="+mn-lt"/>
          <a:ea typeface="+mn-ea"/>
          <a:cs typeface="+mn-cs"/>
        </a:defRPr>
      </a:lvl8pPr>
      <a:lvl9pPr marL="224028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400" kern="1200" baseline="0">
          <a:solidFill>
            <a:schemeClr val="accent3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3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5.xml"/><Relationship Id="rId7" Type="http://schemas.openxmlformats.org/officeDocument/2006/relationships/image" Target="../media/image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27.xml"/><Relationship Id="rId7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29.xml"/><Relationship Id="rId7" Type="http://schemas.openxmlformats.org/officeDocument/2006/relationships/image" Target="../media/image3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31.xml"/><Relationship Id="rId7" Type="http://schemas.openxmlformats.org/officeDocument/2006/relationships/image" Target="../media/image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33.xml"/><Relationship Id="rId7" Type="http://schemas.openxmlformats.org/officeDocument/2006/relationships/image" Target="../media/image3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35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37.xml"/><Relationship Id="rId7" Type="http://schemas.openxmlformats.org/officeDocument/2006/relationships/image" Target="../media/image3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39.xml"/><Relationship Id="rId7" Type="http://schemas.openxmlformats.org/officeDocument/2006/relationships/image" Target="../media/image3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41.xml"/><Relationship Id="rId7" Type="http://schemas.openxmlformats.org/officeDocument/2006/relationships/image" Target="../media/image3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43.xml"/><Relationship Id="rId7" Type="http://schemas.openxmlformats.org/officeDocument/2006/relationships/image" Target="../media/image3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45.xml"/><Relationship Id="rId7" Type="http://schemas.openxmlformats.org/officeDocument/2006/relationships/image" Target="../media/image3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47.xml"/><Relationship Id="rId7" Type="http://schemas.openxmlformats.org/officeDocument/2006/relationships/image" Target="../media/image3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3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5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7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9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1.xml"/><Relationship Id="rId7" Type="http://schemas.openxmlformats.org/officeDocument/2006/relationships/image" Target="../media/image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8219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sz="4000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1691680" y="1412776"/>
            <a:ext cx="5648325" cy="1204306"/>
          </a:xfrm>
        </p:spPr>
        <p:txBody>
          <a:bodyPr>
            <a:normAutofit fontScale="90000"/>
          </a:bodyPr>
          <a:lstStyle/>
          <a:p>
            <a:r>
              <a:rPr lang="es-ES_tradnl" dirty="0" smtClean="0"/>
              <a:t>Calidad del aire en la Comunidad de Madrid </a:t>
            </a:r>
            <a:endParaRPr lang="es-ES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467544" y="4869160"/>
            <a:ext cx="3672408" cy="1800200"/>
          </a:xfrm>
        </p:spPr>
        <p:txBody>
          <a:bodyPr>
            <a:noAutofit/>
          </a:bodyPr>
          <a:lstStyle/>
          <a:p>
            <a:r>
              <a:rPr lang="es-ES_tradnl" sz="1400" dirty="0">
                <a:solidFill>
                  <a:schemeClr val="tx1"/>
                </a:solidFill>
              </a:rPr>
              <a:t>Grupo 7</a:t>
            </a:r>
          </a:p>
          <a:p>
            <a:r>
              <a:rPr lang="es-ES_tradnl" sz="1400" dirty="0">
                <a:solidFill>
                  <a:schemeClr val="tx1"/>
                </a:solidFill>
              </a:rPr>
              <a:t> </a:t>
            </a:r>
            <a:endParaRPr lang="es-ES" sz="1400" dirty="0">
              <a:solidFill>
                <a:schemeClr val="tx1"/>
              </a:solidFill>
            </a:endParaRPr>
          </a:p>
          <a:p>
            <a:r>
              <a:rPr lang="es-ES_tradnl" sz="1400" dirty="0">
                <a:solidFill>
                  <a:schemeClr val="tx1"/>
                </a:solidFill>
              </a:rPr>
              <a:t>Susana Vara</a:t>
            </a:r>
            <a:endParaRPr lang="es-ES" sz="1400" dirty="0">
              <a:solidFill>
                <a:schemeClr val="tx1"/>
              </a:solidFill>
            </a:endParaRPr>
          </a:p>
          <a:p>
            <a:r>
              <a:rPr lang="es-ES_tradnl" sz="1400" dirty="0">
                <a:solidFill>
                  <a:schemeClr val="tx1"/>
                </a:solidFill>
              </a:rPr>
              <a:t>Carmen Reina</a:t>
            </a:r>
            <a:endParaRPr lang="es-ES" sz="1400" dirty="0">
              <a:solidFill>
                <a:schemeClr val="tx1"/>
              </a:solidFill>
            </a:endParaRPr>
          </a:p>
          <a:p>
            <a:r>
              <a:rPr lang="es-ES_tradnl" sz="1400" dirty="0">
                <a:solidFill>
                  <a:schemeClr val="tx1"/>
                </a:solidFill>
              </a:rPr>
              <a:t>Alfonso Gallardo</a:t>
            </a:r>
            <a:endParaRPr lang="es-ES" sz="1400" dirty="0">
              <a:solidFill>
                <a:schemeClr val="tx1"/>
              </a:solidFill>
            </a:endParaRPr>
          </a:p>
          <a:p>
            <a:r>
              <a:rPr lang="es-ES_tradnl" sz="1400" dirty="0">
                <a:solidFill>
                  <a:schemeClr val="tx1"/>
                </a:solidFill>
              </a:rPr>
              <a:t>Raúl </a:t>
            </a:r>
            <a:r>
              <a:rPr lang="es-ES_tradnl" sz="1400" dirty="0" err="1">
                <a:solidFill>
                  <a:schemeClr val="tx1"/>
                </a:solidFill>
              </a:rPr>
              <a:t>Hervás</a:t>
            </a:r>
            <a:endParaRPr lang="es-ES" sz="1400" dirty="0">
              <a:solidFill>
                <a:schemeClr val="tx1"/>
              </a:solidFill>
            </a:endParaRPr>
          </a:p>
          <a:p>
            <a:r>
              <a:rPr lang="es-ES_tradnl" sz="1400" dirty="0">
                <a:solidFill>
                  <a:schemeClr val="tx1"/>
                </a:solidFill>
              </a:rPr>
              <a:t>Walter Ronceros</a:t>
            </a:r>
            <a:endParaRPr lang="es-ES" sz="1400" dirty="0">
              <a:solidFill>
                <a:schemeClr val="tx1"/>
              </a:solidFill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8988" y="6093296"/>
            <a:ext cx="588645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9839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3456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 smtClean="0"/>
              <a:t>3.Preparación de los datos</a:t>
            </a:r>
            <a:endParaRPr lang="es-ES" sz="1800" dirty="0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 Título"/>
          <p:cNvSpPr txBox="1">
            <a:spLocks/>
          </p:cNvSpPr>
          <p:nvPr/>
        </p:nvSpPr>
        <p:spPr>
          <a:xfrm>
            <a:off x="517352" y="1021532"/>
            <a:ext cx="8208912" cy="46325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1400" dirty="0" smtClean="0"/>
              <a:t>3.1 Preparación del </a:t>
            </a:r>
            <a:r>
              <a:rPr lang="es-ES_tradnl" sz="1400" dirty="0" err="1" smtClean="0"/>
              <a:t>dataset</a:t>
            </a:r>
            <a:r>
              <a:rPr lang="es-ES_tradnl" sz="1400" dirty="0" smtClean="0"/>
              <a:t> </a:t>
            </a:r>
            <a:endParaRPr lang="es-ES" sz="1400" dirty="0"/>
          </a:p>
        </p:txBody>
      </p:sp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631" y="2420888"/>
            <a:ext cx="8952354" cy="69581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2" name="2 Marcador de contenido"/>
          <p:cNvSpPr>
            <a:spLocks noGrp="1"/>
          </p:cNvSpPr>
          <p:nvPr>
            <p:ph idx="1"/>
          </p:nvPr>
        </p:nvSpPr>
        <p:spPr>
          <a:xfrm>
            <a:off x="448172" y="1412776"/>
            <a:ext cx="8277472" cy="792088"/>
          </a:xfrm>
        </p:spPr>
        <p:txBody>
          <a:bodyPr>
            <a:noAutofit/>
          </a:bodyPr>
          <a:lstStyle/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El tratamiento de los </a:t>
            </a:r>
            <a:r>
              <a:rPr lang="es-ES_trad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ataset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lo realizamos en </a:t>
            </a:r>
            <a:r>
              <a:rPr lang="es-ES_trad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hyton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Calculamos el ICA de cada contaminante. </a:t>
            </a:r>
          </a:p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Así vienen los </a:t>
            </a:r>
            <a:r>
              <a:rPr lang="es-ES_trad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ataset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originales, con los valores horarios en columnas.</a:t>
            </a:r>
            <a:endParaRPr lang="es-E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15 Imagen"/>
          <p:cNvPicPr/>
          <p:nvPr/>
        </p:nvPicPr>
        <p:blipFill>
          <a:blip r:embed="rId9"/>
          <a:stretch>
            <a:fillRect/>
          </a:stretch>
        </p:blipFill>
        <p:spPr>
          <a:xfrm>
            <a:off x="1318568" y="3360549"/>
            <a:ext cx="5396230" cy="2589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730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6052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/>
              <a:t>3.Preparación de los datos</a:t>
            </a:r>
            <a:endParaRPr lang="es-ES" sz="1800" dirty="0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 Título"/>
          <p:cNvSpPr txBox="1">
            <a:spLocks/>
          </p:cNvSpPr>
          <p:nvPr/>
        </p:nvSpPr>
        <p:spPr>
          <a:xfrm>
            <a:off x="517352" y="1021532"/>
            <a:ext cx="8208912" cy="46325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1400" dirty="0" smtClean="0"/>
              <a:t>3.1 Preparación del </a:t>
            </a:r>
            <a:r>
              <a:rPr lang="es-ES_tradnl" sz="1400" dirty="0" err="1" smtClean="0"/>
              <a:t>dataset</a:t>
            </a:r>
            <a:endParaRPr lang="es-ES" sz="1400" dirty="0"/>
          </a:p>
        </p:txBody>
      </p:sp>
      <p:sp>
        <p:nvSpPr>
          <p:cNvPr id="12" name="2 Marcador de contenido"/>
          <p:cNvSpPr>
            <a:spLocks noGrp="1"/>
          </p:cNvSpPr>
          <p:nvPr>
            <p:ph idx="1"/>
          </p:nvPr>
        </p:nvSpPr>
        <p:spPr>
          <a:xfrm>
            <a:off x="448172" y="1412776"/>
            <a:ext cx="8277472" cy="936104"/>
          </a:xfrm>
        </p:spPr>
        <p:txBody>
          <a:bodyPr>
            <a:noAutofit/>
          </a:bodyPr>
          <a:lstStyle/>
          <a:p>
            <a:r>
              <a:rPr lang="es-ES_tradnl" sz="1400" dirty="0">
                <a:latin typeface="Calibri" panose="020F0502020204030204" pitchFamily="34" charset="0"/>
                <a:cs typeface="Calibri" panose="020F0502020204030204" pitchFamily="34" charset="0"/>
              </a:rPr>
              <a:t>Transformamos  con </a:t>
            </a:r>
            <a:r>
              <a:rPr lang="es-ES_tradnl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hyton</a:t>
            </a:r>
            <a:r>
              <a:rPr lang="es-ES_tradnl" sz="1400" dirty="0">
                <a:latin typeface="Calibri" panose="020F0502020204030204" pitchFamily="34" charset="0"/>
                <a:cs typeface="Calibri" panose="020F0502020204030204" pitchFamily="34" charset="0"/>
              </a:rPr>
              <a:t> el </a:t>
            </a:r>
            <a:r>
              <a:rPr lang="es-ES_tradnl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ataset</a:t>
            </a:r>
            <a:r>
              <a:rPr lang="es-ES_tradnl" sz="1400" dirty="0">
                <a:latin typeface="Calibri" panose="020F0502020204030204" pitchFamily="34" charset="0"/>
                <a:cs typeface="Calibri" panose="020F0502020204030204" pitchFamily="34" charset="0"/>
              </a:rPr>
              <a:t>  desagrupando y poniendo los valores de cada hora de las magnitudes  de calidad del aire en filas y las características </a:t>
            </a:r>
            <a:r>
              <a:rPr lang="es-ES_tradnl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etereologicas</a:t>
            </a:r>
            <a:r>
              <a:rPr lang="es-ES_tradnl" sz="1400" dirty="0">
                <a:latin typeface="Calibri" panose="020F0502020204030204" pitchFamily="34" charset="0"/>
                <a:cs typeface="Calibri" panose="020F0502020204030204" pitchFamily="34" charset="0"/>
              </a:rPr>
              <a:t> en columnas, para poder realizar un mejor tratamiento de series temporales.</a:t>
            </a:r>
          </a:p>
          <a:p>
            <a:endParaRPr lang="es-E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342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25" y="4869159"/>
            <a:ext cx="8224639" cy="14231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5" name="14 Imagen"/>
          <p:cNvPicPr/>
          <p:nvPr/>
        </p:nvPicPr>
        <p:blipFill>
          <a:blip r:embed="rId9"/>
          <a:stretch>
            <a:fillRect/>
          </a:stretch>
        </p:blipFill>
        <p:spPr>
          <a:xfrm>
            <a:off x="755576" y="2348880"/>
            <a:ext cx="5400599" cy="2232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850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396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/>
              <a:t>3.Preparación de los datos</a:t>
            </a:r>
            <a:endParaRPr lang="es-ES" sz="180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48172" y="1412776"/>
            <a:ext cx="8277472" cy="576064"/>
          </a:xfrm>
        </p:spPr>
        <p:txBody>
          <a:bodyPr>
            <a:noAutofit/>
          </a:bodyPr>
          <a:lstStyle/>
          <a:p>
            <a:r>
              <a:rPr lang="es-ES_trad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Utlizamos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google </a:t>
            </a:r>
            <a:r>
              <a:rPr lang="es-ES_trad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olab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para analizar el </a:t>
            </a:r>
            <a:r>
              <a:rPr lang="es-ES_trad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ataset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generado y verificar las hipótesis de cara a modelar con series temporales. </a:t>
            </a:r>
            <a:endParaRPr lang="es-ES_tradnl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s-E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 Título"/>
          <p:cNvSpPr txBox="1">
            <a:spLocks/>
          </p:cNvSpPr>
          <p:nvPr/>
        </p:nvSpPr>
        <p:spPr>
          <a:xfrm>
            <a:off x="517352" y="1021532"/>
            <a:ext cx="8208912" cy="46325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1400" dirty="0" smtClean="0"/>
              <a:t>3.2 </a:t>
            </a:r>
            <a:r>
              <a:rPr lang="es-ES_tradnl" sz="1400" dirty="0" err="1" smtClean="0"/>
              <a:t>Preprocesamiento</a:t>
            </a:r>
            <a:r>
              <a:rPr lang="es-ES_tradnl" sz="1400" dirty="0" smtClean="0"/>
              <a:t> y análisis de los datos </a:t>
            </a:r>
            <a:endParaRPr lang="es-ES" sz="1400" dirty="0"/>
          </a:p>
        </p:txBody>
      </p:sp>
      <p:pic>
        <p:nvPicPr>
          <p:cNvPr id="9" name="8 Imagen"/>
          <p:cNvPicPr/>
          <p:nvPr/>
        </p:nvPicPr>
        <p:blipFill>
          <a:blip r:embed="rId8"/>
          <a:stretch>
            <a:fillRect/>
          </a:stretch>
        </p:blipFill>
        <p:spPr>
          <a:xfrm>
            <a:off x="1043608" y="2204864"/>
            <a:ext cx="6120680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076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0149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/>
              <a:t>3.Preparación de los datos</a:t>
            </a:r>
            <a:endParaRPr lang="es-ES" sz="1800" dirty="0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 Título"/>
          <p:cNvSpPr txBox="1">
            <a:spLocks/>
          </p:cNvSpPr>
          <p:nvPr/>
        </p:nvSpPr>
        <p:spPr>
          <a:xfrm>
            <a:off x="517352" y="1021532"/>
            <a:ext cx="8208912" cy="46325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1400" dirty="0" smtClean="0"/>
              <a:t>3.2 </a:t>
            </a:r>
            <a:r>
              <a:rPr lang="es-ES_tradnl" sz="1400" dirty="0" err="1" smtClean="0"/>
              <a:t>Preprocesamiento</a:t>
            </a:r>
            <a:r>
              <a:rPr lang="es-ES_tradnl" sz="1400" dirty="0" smtClean="0"/>
              <a:t> y análisis de los datos </a:t>
            </a:r>
            <a:endParaRPr lang="es-ES" sz="1400" dirty="0"/>
          </a:p>
        </p:txBody>
      </p:sp>
      <p:pic>
        <p:nvPicPr>
          <p:cNvPr id="10" name="9 Imagen"/>
          <p:cNvPicPr/>
          <p:nvPr/>
        </p:nvPicPr>
        <p:blipFill>
          <a:blip r:embed="rId8"/>
          <a:stretch>
            <a:fillRect/>
          </a:stretch>
        </p:blipFill>
        <p:spPr>
          <a:xfrm>
            <a:off x="311076" y="2284809"/>
            <a:ext cx="4343400" cy="4600575"/>
          </a:xfrm>
          <a:prstGeom prst="rect">
            <a:avLst/>
          </a:prstGeom>
        </p:spPr>
      </p:pic>
      <p:pic>
        <p:nvPicPr>
          <p:cNvPr id="12" name="11 Imagen"/>
          <p:cNvPicPr/>
          <p:nvPr/>
        </p:nvPicPr>
        <p:blipFill>
          <a:blip r:embed="rId9"/>
          <a:stretch>
            <a:fillRect/>
          </a:stretch>
        </p:blipFill>
        <p:spPr>
          <a:xfrm>
            <a:off x="5496046" y="2710011"/>
            <a:ext cx="3103265" cy="3095253"/>
          </a:xfrm>
          <a:prstGeom prst="rect">
            <a:avLst/>
          </a:prstGeom>
        </p:spPr>
      </p:pic>
      <p:sp>
        <p:nvSpPr>
          <p:cNvPr id="14" name="2 Marcador de contenido"/>
          <p:cNvSpPr>
            <a:spLocks noGrp="1"/>
          </p:cNvSpPr>
          <p:nvPr>
            <p:ph idx="1"/>
          </p:nvPr>
        </p:nvSpPr>
        <p:spPr>
          <a:xfrm>
            <a:off x="448668" y="1484784"/>
            <a:ext cx="8277472" cy="504056"/>
          </a:xfrm>
        </p:spPr>
        <p:txBody>
          <a:bodyPr>
            <a:noAutofit/>
          </a:bodyPr>
          <a:lstStyle/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Hacemos un repaso rápido de los datos que tenemos, sus tipos de datos</a:t>
            </a:r>
            <a:endParaRPr lang="es-ES_tradnl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s-E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2081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4215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/>
              <a:t>3.Preparación de los datos</a:t>
            </a:r>
            <a:endParaRPr lang="es-ES" sz="1800" dirty="0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 Título"/>
          <p:cNvSpPr txBox="1">
            <a:spLocks/>
          </p:cNvSpPr>
          <p:nvPr/>
        </p:nvSpPr>
        <p:spPr>
          <a:xfrm>
            <a:off x="517352" y="1021532"/>
            <a:ext cx="8208912" cy="46325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1400" dirty="0" smtClean="0"/>
              <a:t>3.2 </a:t>
            </a:r>
            <a:r>
              <a:rPr lang="es-ES_tradnl" sz="1400" dirty="0" err="1" smtClean="0"/>
              <a:t>Preprocesamiento</a:t>
            </a:r>
            <a:r>
              <a:rPr lang="es-ES_tradnl" sz="1400" dirty="0" smtClean="0"/>
              <a:t> y análisis de los datos </a:t>
            </a:r>
            <a:endParaRPr lang="es-ES" sz="1400" dirty="0"/>
          </a:p>
        </p:txBody>
      </p:sp>
      <p:pic>
        <p:nvPicPr>
          <p:cNvPr id="9" name="8 Imagen"/>
          <p:cNvPicPr/>
          <p:nvPr/>
        </p:nvPicPr>
        <p:blipFill>
          <a:blip r:embed="rId8"/>
          <a:stretch>
            <a:fillRect/>
          </a:stretch>
        </p:blipFill>
        <p:spPr>
          <a:xfrm>
            <a:off x="683568" y="2060848"/>
            <a:ext cx="2828925" cy="3781425"/>
          </a:xfrm>
          <a:prstGeom prst="rect">
            <a:avLst/>
          </a:prstGeom>
        </p:spPr>
      </p:pic>
      <p:pic>
        <p:nvPicPr>
          <p:cNvPr id="13" name="12 Imagen"/>
          <p:cNvPicPr/>
          <p:nvPr/>
        </p:nvPicPr>
        <p:blipFill>
          <a:blip r:embed="rId9"/>
          <a:stretch>
            <a:fillRect/>
          </a:stretch>
        </p:blipFill>
        <p:spPr>
          <a:xfrm>
            <a:off x="4716016" y="2226146"/>
            <a:ext cx="3076575" cy="3867150"/>
          </a:xfrm>
          <a:prstGeom prst="rect">
            <a:avLst/>
          </a:prstGeom>
        </p:spPr>
      </p:pic>
      <p:sp>
        <p:nvSpPr>
          <p:cNvPr id="14" name="2 Marcador de contenido"/>
          <p:cNvSpPr>
            <a:spLocks noGrp="1"/>
          </p:cNvSpPr>
          <p:nvPr>
            <p:ph idx="1"/>
          </p:nvPr>
        </p:nvSpPr>
        <p:spPr>
          <a:xfrm>
            <a:off x="448668" y="1484784"/>
            <a:ext cx="8277472" cy="504056"/>
          </a:xfrm>
        </p:spPr>
        <p:txBody>
          <a:bodyPr>
            <a:noAutofit/>
          </a:bodyPr>
          <a:lstStyle/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Consultamos valores faltantes, eliminamos nulos.</a:t>
            </a:r>
            <a:endParaRPr lang="es-ES_tradnl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s-E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6867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0639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/>
              <a:t>3.Preparación de los datos</a:t>
            </a:r>
            <a:endParaRPr lang="es-ES" sz="1800" dirty="0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 Título"/>
          <p:cNvSpPr txBox="1">
            <a:spLocks/>
          </p:cNvSpPr>
          <p:nvPr/>
        </p:nvSpPr>
        <p:spPr>
          <a:xfrm>
            <a:off x="517352" y="1021532"/>
            <a:ext cx="8208912" cy="46325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1400" dirty="0" smtClean="0"/>
              <a:t>3.2 </a:t>
            </a:r>
            <a:r>
              <a:rPr lang="es-ES_tradnl" sz="1400" dirty="0" err="1" smtClean="0"/>
              <a:t>Preprocesamiento</a:t>
            </a:r>
            <a:r>
              <a:rPr lang="es-ES_tradnl" sz="1400" dirty="0" smtClean="0"/>
              <a:t> y análisis de los datos </a:t>
            </a:r>
            <a:endParaRPr lang="es-ES" sz="1400" dirty="0"/>
          </a:p>
        </p:txBody>
      </p:sp>
      <p:pic>
        <p:nvPicPr>
          <p:cNvPr id="10" name="9 Imagen"/>
          <p:cNvPicPr/>
          <p:nvPr/>
        </p:nvPicPr>
        <p:blipFill>
          <a:blip r:embed="rId8"/>
          <a:stretch>
            <a:fillRect/>
          </a:stretch>
        </p:blipFill>
        <p:spPr>
          <a:xfrm>
            <a:off x="899592" y="2132856"/>
            <a:ext cx="7488832" cy="3960440"/>
          </a:xfrm>
          <a:prstGeom prst="rect">
            <a:avLst/>
          </a:prstGeom>
        </p:spPr>
      </p:pic>
      <p:sp>
        <p:nvSpPr>
          <p:cNvPr id="12" name="2 Marcador de contenido"/>
          <p:cNvSpPr>
            <a:spLocks noGrp="1"/>
          </p:cNvSpPr>
          <p:nvPr>
            <p:ph idx="1"/>
          </p:nvPr>
        </p:nvSpPr>
        <p:spPr>
          <a:xfrm>
            <a:off x="448668" y="1484784"/>
            <a:ext cx="8277472" cy="504056"/>
          </a:xfrm>
        </p:spPr>
        <p:txBody>
          <a:bodyPr>
            <a:noAutofit/>
          </a:bodyPr>
          <a:lstStyle/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Gráfico descriptivo del valor de ICA  de cada contaminante en cada hora del día.</a:t>
            </a:r>
            <a:endParaRPr lang="es-ES_tradnl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s-E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5368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6259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/>
              <a:t>3.Preparación de los datos</a:t>
            </a:r>
            <a:endParaRPr lang="es-ES" sz="1800" dirty="0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 Título"/>
          <p:cNvSpPr txBox="1">
            <a:spLocks/>
          </p:cNvSpPr>
          <p:nvPr/>
        </p:nvSpPr>
        <p:spPr>
          <a:xfrm>
            <a:off x="517352" y="1021532"/>
            <a:ext cx="8208912" cy="46325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1400" dirty="0" smtClean="0"/>
              <a:t>3.2 </a:t>
            </a:r>
            <a:r>
              <a:rPr lang="es-ES_tradnl" sz="1400" dirty="0" err="1" smtClean="0"/>
              <a:t>Preprocesamiento</a:t>
            </a:r>
            <a:r>
              <a:rPr lang="es-ES_tradnl" sz="1400" dirty="0" smtClean="0"/>
              <a:t> y análisis de los datos </a:t>
            </a:r>
            <a:endParaRPr lang="es-ES" sz="1400" dirty="0"/>
          </a:p>
        </p:txBody>
      </p:sp>
      <p:sp>
        <p:nvSpPr>
          <p:cNvPr id="12" name="2 Marcador de contenido"/>
          <p:cNvSpPr>
            <a:spLocks noGrp="1"/>
          </p:cNvSpPr>
          <p:nvPr>
            <p:ph idx="1"/>
          </p:nvPr>
        </p:nvSpPr>
        <p:spPr>
          <a:xfrm>
            <a:off x="448668" y="1484784"/>
            <a:ext cx="8277472" cy="504056"/>
          </a:xfrm>
        </p:spPr>
        <p:txBody>
          <a:bodyPr>
            <a:noAutofit/>
          </a:bodyPr>
          <a:lstStyle/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Podemos ver las series temporales de cada uno de los contaminantes en el periodo de estudio de los meses de enero a abril 2020.</a:t>
            </a:r>
            <a:endParaRPr lang="es-ES_tradnl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s-E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12 Imagen"/>
          <p:cNvPicPr/>
          <p:nvPr/>
        </p:nvPicPr>
        <p:blipFill>
          <a:blip r:embed="rId8"/>
          <a:stretch>
            <a:fillRect/>
          </a:stretch>
        </p:blipFill>
        <p:spPr>
          <a:xfrm>
            <a:off x="683568" y="2074733"/>
            <a:ext cx="7560840" cy="4306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656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1533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/>
              <a:t>3.Preparación de los datos</a:t>
            </a:r>
            <a:endParaRPr lang="es-ES" sz="1800" dirty="0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 Título"/>
          <p:cNvSpPr txBox="1">
            <a:spLocks/>
          </p:cNvSpPr>
          <p:nvPr/>
        </p:nvSpPr>
        <p:spPr>
          <a:xfrm>
            <a:off x="517352" y="1021532"/>
            <a:ext cx="8208912" cy="46325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1400" dirty="0" smtClean="0"/>
              <a:t>3.3 Comprensión de los datos</a:t>
            </a:r>
            <a:endParaRPr lang="es-ES" sz="1400" dirty="0"/>
          </a:p>
        </p:txBody>
      </p:sp>
      <p:pic>
        <p:nvPicPr>
          <p:cNvPr id="9" name="8 Imagen"/>
          <p:cNvPicPr/>
          <p:nvPr/>
        </p:nvPicPr>
        <p:blipFill>
          <a:blip r:embed="rId8"/>
          <a:stretch>
            <a:fillRect/>
          </a:stretch>
        </p:blipFill>
        <p:spPr>
          <a:xfrm>
            <a:off x="899592" y="1700808"/>
            <a:ext cx="6768752" cy="3888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56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0550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/>
              <a:t>3.Preparación de los datos</a:t>
            </a:r>
            <a:endParaRPr lang="es-ES" sz="1800" dirty="0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 Título"/>
          <p:cNvSpPr txBox="1">
            <a:spLocks/>
          </p:cNvSpPr>
          <p:nvPr/>
        </p:nvSpPr>
        <p:spPr>
          <a:xfrm>
            <a:off x="517352" y="1021532"/>
            <a:ext cx="8208912" cy="46325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1400" dirty="0" smtClean="0"/>
              <a:t>3.3 Comprensión de los datos</a:t>
            </a:r>
            <a:endParaRPr lang="es-ES" sz="1400" dirty="0"/>
          </a:p>
        </p:txBody>
      </p:sp>
      <p:sp>
        <p:nvSpPr>
          <p:cNvPr id="12" name="2 Marcador de contenido"/>
          <p:cNvSpPr>
            <a:spLocks noGrp="1"/>
          </p:cNvSpPr>
          <p:nvPr>
            <p:ph idx="1"/>
          </p:nvPr>
        </p:nvSpPr>
        <p:spPr>
          <a:xfrm>
            <a:off x="439912" y="1484784"/>
            <a:ext cx="8277472" cy="1584176"/>
          </a:xfrm>
        </p:spPr>
        <p:txBody>
          <a:bodyPr>
            <a:noAutofit/>
          </a:bodyPr>
          <a:lstStyle/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Analizamos las  los valores que más se repiten del ICA y los que menos, su media y las medidas de distribución cómo son la asimetría y la </a:t>
            </a:r>
            <a:r>
              <a:rPr lang="es-ES_trad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urtosis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Tenemos un sesgo positivo, lo que indica una asimetría a la derecha y en cuanto a la </a:t>
            </a:r>
            <a:r>
              <a:rPr lang="es-ES_trad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urtosis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el valor es &gt;0 lo que indica que la distribución es </a:t>
            </a:r>
            <a:r>
              <a:rPr lang="es-ES_trad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leptocúrtica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, los datos están muy concentrados hacia la media. Si la </a:t>
            </a:r>
            <a:r>
              <a:rPr lang="es-ES_trad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urtosis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hubiera sido 0 nos indicaría que la distribución es normal.</a:t>
            </a:r>
            <a:endParaRPr lang="es-ES_tradnl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s-ES_tradnl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s-E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9 Imagen"/>
          <p:cNvPicPr/>
          <p:nvPr/>
        </p:nvPicPr>
        <p:blipFill>
          <a:blip r:embed="rId8"/>
          <a:stretch>
            <a:fillRect/>
          </a:stretch>
        </p:blipFill>
        <p:spPr>
          <a:xfrm>
            <a:off x="576288" y="2852936"/>
            <a:ext cx="3695848" cy="3600963"/>
          </a:xfrm>
          <a:prstGeom prst="rect">
            <a:avLst/>
          </a:prstGeom>
        </p:spPr>
      </p:pic>
      <p:pic>
        <p:nvPicPr>
          <p:cNvPr id="14" name="13 Imagen"/>
          <p:cNvPicPr/>
          <p:nvPr/>
        </p:nvPicPr>
        <p:blipFill>
          <a:blip r:embed="rId9"/>
          <a:stretch>
            <a:fillRect/>
          </a:stretch>
        </p:blipFill>
        <p:spPr>
          <a:xfrm>
            <a:off x="4499992" y="2852936"/>
            <a:ext cx="4563438" cy="2804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03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7101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 smtClean="0"/>
              <a:t>4. Modelado</a:t>
            </a:r>
            <a:endParaRPr lang="es-ES" sz="1800" dirty="0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 Título"/>
          <p:cNvSpPr txBox="1">
            <a:spLocks/>
          </p:cNvSpPr>
          <p:nvPr/>
        </p:nvSpPr>
        <p:spPr>
          <a:xfrm>
            <a:off x="517352" y="1021532"/>
            <a:ext cx="8208912" cy="46325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1400" dirty="0" smtClean="0"/>
              <a:t>4.1 Preparación del modelo</a:t>
            </a:r>
            <a:endParaRPr lang="es-ES" sz="1400" dirty="0"/>
          </a:p>
        </p:txBody>
      </p:sp>
      <p:sp>
        <p:nvSpPr>
          <p:cNvPr id="12" name="2 Marcador de contenido"/>
          <p:cNvSpPr>
            <a:spLocks noGrp="1"/>
          </p:cNvSpPr>
          <p:nvPr>
            <p:ph idx="1"/>
          </p:nvPr>
        </p:nvSpPr>
        <p:spPr>
          <a:xfrm>
            <a:off x="439912" y="1484784"/>
            <a:ext cx="8277472" cy="504056"/>
          </a:xfrm>
        </p:spPr>
        <p:txBody>
          <a:bodyPr>
            <a:noAutofit/>
          </a:bodyPr>
          <a:lstStyle/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Normalizamos el ICA y las magnitudes</a:t>
            </a:r>
            <a:endParaRPr lang="es-ES_tradnl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s-E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12 Imagen"/>
          <p:cNvPicPr/>
          <p:nvPr/>
        </p:nvPicPr>
        <p:blipFill>
          <a:blip r:embed="rId8"/>
          <a:stretch>
            <a:fillRect/>
          </a:stretch>
        </p:blipFill>
        <p:spPr>
          <a:xfrm>
            <a:off x="899592" y="1772816"/>
            <a:ext cx="6696744" cy="1800199"/>
          </a:xfrm>
          <a:prstGeom prst="rect">
            <a:avLst/>
          </a:prstGeom>
        </p:spPr>
      </p:pic>
      <p:pic>
        <p:nvPicPr>
          <p:cNvPr id="15" name="14 Imagen"/>
          <p:cNvPicPr/>
          <p:nvPr/>
        </p:nvPicPr>
        <p:blipFill>
          <a:blip r:embed="rId9"/>
          <a:stretch>
            <a:fillRect/>
          </a:stretch>
        </p:blipFill>
        <p:spPr>
          <a:xfrm>
            <a:off x="899592" y="3718367"/>
            <a:ext cx="5616624" cy="2674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375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6740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_tradnl" sz="4000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60450" y="548680"/>
            <a:ext cx="8363272" cy="1512168"/>
          </a:xfrm>
        </p:spPr>
        <p:txBody>
          <a:bodyPr>
            <a:normAutofit/>
          </a:bodyPr>
          <a:lstStyle/>
          <a:p>
            <a:r>
              <a:rPr lang="es-ES_tradnl" dirty="0" smtClean="0"/>
              <a:t>Para coordinarnos el equipo hemos utilizado </a:t>
            </a:r>
            <a:r>
              <a:rPr lang="es-ES_tradnl" dirty="0" err="1" smtClean="0"/>
              <a:t>Trello</a:t>
            </a:r>
            <a:endParaRPr lang="es-ES" dirty="0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2132856"/>
            <a:ext cx="9061185" cy="4207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4294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9183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 smtClean="0"/>
              <a:t>4. Modelado</a:t>
            </a:r>
            <a:endParaRPr lang="es-ES" sz="1800" dirty="0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 Título"/>
          <p:cNvSpPr txBox="1">
            <a:spLocks/>
          </p:cNvSpPr>
          <p:nvPr/>
        </p:nvSpPr>
        <p:spPr>
          <a:xfrm>
            <a:off x="517352" y="1021532"/>
            <a:ext cx="8208912" cy="46325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1400" dirty="0" smtClean="0"/>
              <a:t>4.1 Preparación del modelo</a:t>
            </a:r>
            <a:endParaRPr lang="es-ES" sz="1400" dirty="0"/>
          </a:p>
        </p:txBody>
      </p:sp>
      <p:sp>
        <p:nvSpPr>
          <p:cNvPr id="12" name="2 Marcador de contenido"/>
          <p:cNvSpPr>
            <a:spLocks noGrp="1"/>
          </p:cNvSpPr>
          <p:nvPr>
            <p:ph idx="1"/>
          </p:nvPr>
        </p:nvSpPr>
        <p:spPr>
          <a:xfrm>
            <a:off x="439912" y="1484784"/>
            <a:ext cx="8277472" cy="504056"/>
          </a:xfrm>
        </p:spPr>
        <p:txBody>
          <a:bodyPr>
            <a:noAutofit/>
          </a:bodyPr>
          <a:lstStyle/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Consultamos los diagramas de Box-</a:t>
            </a:r>
            <a:r>
              <a:rPr lang="es-ES_trad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whisker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. Donde se aprecia que hay muchos datos atípicos en casi todas las variables, únicamente la dirección del viento y la humedad relativa</a:t>
            </a:r>
            <a:endParaRPr lang="es-ES_tradnl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s-E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9 Imagen"/>
          <p:cNvPicPr/>
          <p:nvPr/>
        </p:nvPicPr>
        <p:blipFill>
          <a:blip r:embed="rId8"/>
          <a:stretch>
            <a:fillRect/>
          </a:stretch>
        </p:blipFill>
        <p:spPr>
          <a:xfrm>
            <a:off x="899592" y="2288531"/>
            <a:ext cx="5544616" cy="4104456"/>
          </a:xfrm>
          <a:prstGeom prst="rect">
            <a:avLst/>
          </a:prstGeom>
        </p:spPr>
      </p:pic>
      <p:pic>
        <p:nvPicPr>
          <p:cNvPr id="9" name="8 Imagen"/>
          <p:cNvPicPr/>
          <p:nvPr/>
        </p:nvPicPr>
        <p:blipFill>
          <a:blip r:embed="rId9"/>
          <a:stretch>
            <a:fillRect/>
          </a:stretch>
        </p:blipFill>
        <p:spPr>
          <a:xfrm>
            <a:off x="6156176" y="2288531"/>
            <a:ext cx="2210631" cy="1983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06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7088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 smtClean="0"/>
              <a:t>4. Modelado</a:t>
            </a:r>
            <a:endParaRPr lang="es-ES" sz="1800" dirty="0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 Título"/>
          <p:cNvSpPr txBox="1">
            <a:spLocks/>
          </p:cNvSpPr>
          <p:nvPr/>
        </p:nvSpPr>
        <p:spPr>
          <a:xfrm>
            <a:off x="517352" y="1021532"/>
            <a:ext cx="8208912" cy="46325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1400" dirty="0" smtClean="0"/>
              <a:t>4.1 Preparación del modelo</a:t>
            </a:r>
            <a:endParaRPr lang="es-ES" sz="1400" dirty="0"/>
          </a:p>
        </p:txBody>
      </p:sp>
      <p:sp>
        <p:nvSpPr>
          <p:cNvPr id="12" name="2 Marcador de contenido"/>
          <p:cNvSpPr>
            <a:spLocks noGrp="1"/>
          </p:cNvSpPr>
          <p:nvPr>
            <p:ph idx="1"/>
          </p:nvPr>
        </p:nvSpPr>
        <p:spPr>
          <a:xfrm>
            <a:off x="439912" y="1484784"/>
            <a:ext cx="8277472" cy="504056"/>
          </a:xfrm>
        </p:spPr>
        <p:txBody>
          <a:bodyPr>
            <a:noAutofit/>
          </a:bodyPr>
          <a:lstStyle/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Análisis de correlaciones, no se observa ninguna correlación significativa, esta parte nos plantea un </a:t>
            </a:r>
            <a:r>
              <a:rPr lang="es-ES_trad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erío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problema a la hora de modelizar algo con una cierta fiabilidad.</a:t>
            </a:r>
            <a:endParaRPr lang="es-ES_tradnl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s-E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12 Imagen"/>
          <p:cNvPicPr/>
          <p:nvPr/>
        </p:nvPicPr>
        <p:blipFill>
          <a:blip r:embed="rId8"/>
          <a:stretch>
            <a:fillRect/>
          </a:stretch>
        </p:blipFill>
        <p:spPr>
          <a:xfrm>
            <a:off x="517352" y="1988840"/>
            <a:ext cx="3191247" cy="3479849"/>
          </a:xfrm>
          <a:prstGeom prst="rect">
            <a:avLst/>
          </a:prstGeom>
        </p:spPr>
      </p:pic>
      <p:pic>
        <p:nvPicPr>
          <p:cNvPr id="15" name="14 Imagen"/>
          <p:cNvPicPr/>
          <p:nvPr/>
        </p:nvPicPr>
        <p:blipFill>
          <a:blip r:embed="rId9"/>
          <a:stretch>
            <a:fillRect/>
          </a:stretch>
        </p:blipFill>
        <p:spPr>
          <a:xfrm>
            <a:off x="4505300" y="1971104"/>
            <a:ext cx="4249611" cy="4400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925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5992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 smtClean="0"/>
              <a:t>4. Modelado</a:t>
            </a:r>
            <a:endParaRPr lang="es-ES" sz="1800" dirty="0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 Título"/>
          <p:cNvSpPr txBox="1">
            <a:spLocks/>
          </p:cNvSpPr>
          <p:nvPr/>
        </p:nvSpPr>
        <p:spPr>
          <a:xfrm>
            <a:off x="517352" y="1021532"/>
            <a:ext cx="8208912" cy="46325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1400" dirty="0" smtClean="0"/>
              <a:t>4.2 Primer modelo </a:t>
            </a:r>
            <a:endParaRPr lang="es-ES" sz="1400" dirty="0"/>
          </a:p>
        </p:txBody>
      </p:sp>
      <p:sp>
        <p:nvSpPr>
          <p:cNvPr id="12" name="2 Marcador de contenido"/>
          <p:cNvSpPr>
            <a:spLocks noGrp="1"/>
          </p:cNvSpPr>
          <p:nvPr>
            <p:ph idx="1"/>
          </p:nvPr>
        </p:nvSpPr>
        <p:spPr>
          <a:xfrm>
            <a:off x="422896" y="1340768"/>
            <a:ext cx="8277472" cy="504056"/>
          </a:xfrm>
        </p:spPr>
        <p:txBody>
          <a:bodyPr>
            <a:noAutofit/>
          </a:bodyPr>
          <a:lstStyle/>
          <a:p>
            <a:r>
              <a:rPr lang="es-ES_tradnl" sz="1400" dirty="0"/>
              <a:t>Comenzamos con la modelización , para lo cual el primer modelo que probamos es </a:t>
            </a:r>
            <a:r>
              <a:rPr lang="es-ES_tradnl" sz="1400" dirty="0" err="1"/>
              <a:t>Prophet</a:t>
            </a:r>
            <a:r>
              <a:rPr lang="es-ES_tradnl" sz="1400" dirty="0"/>
              <a:t> </a:t>
            </a:r>
            <a:r>
              <a:rPr lang="es-ES_tradnl" sz="1400" dirty="0" err="1" smtClean="0"/>
              <a:t>Model</a:t>
            </a:r>
            <a:r>
              <a:rPr lang="es-ES_tradnl" sz="1400" dirty="0" smtClean="0"/>
              <a:t>…….</a:t>
            </a:r>
            <a:endParaRPr lang="es-E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9 Imagen"/>
          <p:cNvPicPr/>
          <p:nvPr/>
        </p:nvPicPr>
        <p:blipFill>
          <a:blip r:embed="rId8"/>
          <a:stretch>
            <a:fillRect/>
          </a:stretch>
        </p:blipFill>
        <p:spPr>
          <a:xfrm>
            <a:off x="1637509" y="1844825"/>
            <a:ext cx="5238747" cy="1296144"/>
          </a:xfrm>
          <a:prstGeom prst="rect">
            <a:avLst/>
          </a:prstGeom>
        </p:spPr>
      </p:pic>
      <p:pic>
        <p:nvPicPr>
          <p:cNvPr id="14" name="13 Imagen"/>
          <p:cNvPicPr/>
          <p:nvPr/>
        </p:nvPicPr>
        <p:blipFill>
          <a:blip r:embed="rId9"/>
          <a:stretch>
            <a:fillRect/>
          </a:stretch>
        </p:blipFill>
        <p:spPr>
          <a:xfrm>
            <a:off x="983218" y="3284984"/>
            <a:ext cx="5460989" cy="2937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483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5770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sz="3600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67544" y="836712"/>
            <a:ext cx="8363272" cy="1781944"/>
          </a:xfrm>
        </p:spPr>
        <p:txBody>
          <a:bodyPr>
            <a:normAutofit fontScale="90000"/>
          </a:bodyPr>
          <a:lstStyle/>
          <a:p>
            <a:r>
              <a:rPr lang="es-ES_tradnl" dirty="0" smtClean="0"/>
              <a:t>Para realizar el estudio de la calidad del aire utilizamos la </a:t>
            </a:r>
            <a:r>
              <a:rPr lang="es-ES_tradnl" dirty="0" err="1" smtClean="0"/>
              <a:t>metedologia</a:t>
            </a:r>
            <a:r>
              <a:rPr lang="es-ES_tradnl" dirty="0" smtClean="0"/>
              <a:t> CRISP-DM </a:t>
            </a:r>
            <a:endParaRPr lang="es-ES" dirty="0"/>
          </a:p>
        </p:txBody>
      </p:sp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2636912"/>
            <a:ext cx="7856073" cy="3729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6076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0244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 smtClean="0"/>
              <a:t>1.Comprensión del negocio</a:t>
            </a:r>
            <a:endParaRPr lang="es-ES" sz="180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02432" y="1052736"/>
            <a:ext cx="8496944" cy="1342975"/>
          </a:xfrm>
        </p:spPr>
        <p:txBody>
          <a:bodyPr>
            <a:noAutofit/>
          </a:bodyPr>
          <a:lstStyle/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La calidad del aire a nivel mundial se mide mediante un índice denominado </a:t>
            </a:r>
            <a:r>
              <a:rPr lang="es-ES_tradnl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AQI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s-ES" sz="1400" dirty="0">
                <a:latin typeface="Calibri" panose="020F0502020204030204" pitchFamily="34" charset="0"/>
                <a:cs typeface="Calibri" panose="020F0502020204030204" pitchFamily="34" charset="0"/>
              </a:rPr>
              <a:t>Air </a:t>
            </a:r>
            <a:r>
              <a:rPr lang="es-E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Quality</a:t>
            </a:r>
            <a:r>
              <a:rPr lang="es-E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ndex</a:t>
            </a:r>
            <a:r>
              <a:rPr lang="es-E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) , en español es  </a:t>
            </a:r>
            <a:r>
              <a:rPr lang="es-ES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ICA ( Índice de la Calidad del Aire)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Este índice es el máximo de los valores equivalentes de 5 contaminantes: SO2 ( Dióxido de </a:t>
            </a:r>
            <a:r>
              <a:rPr lang="es-ES_tradnl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es-ES_trad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zúfre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), NO2 (Dióxido de Nitrógeno), CO ( Monóxido de Carbono) ,  O3(Ozono), PM10 y  PM25 (partículas) en todas las estaciones de medida de un municipio o región.</a:t>
            </a: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2564904"/>
            <a:ext cx="4783823" cy="3384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8 CuadroTexto"/>
          <p:cNvSpPr txBox="1"/>
          <p:nvPr/>
        </p:nvSpPr>
        <p:spPr>
          <a:xfrm>
            <a:off x="5868144" y="2708920"/>
            <a:ext cx="212423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En el dibujo podemos ver las causas y efectos de la contaminación del aire: </a:t>
            </a:r>
            <a:r>
              <a:rPr lang="es-ES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(1) efecto invernadero, (2) contaminación por partículas, (3) aumento de la radiación UV, (4) SO2 dióxido de azufre (lluvia ácida), (5) aumento de la concentración de ozono a nivel del suelo, (6) aumento de los niveles de óxidos de nitrógeno.</a:t>
            </a:r>
            <a:r>
              <a:rPr lang="es-ES_tradnl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s-ES" sz="12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s-ES" sz="1200" dirty="0"/>
          </a:p>
        </p:txBody>
      </p:sp>
    </p:spTree>
    <p:extLst>
      <p:ext uri="{BB962C8B-B14F-4D97-AF65-F5344CB8AC3E}">
        <p14:creationId xmlns:p14="http://schemas.microsoft.com/office/powerpoint/2010/main" val="694124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0668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 smtClean="0"/>
              <a:t>1.Comprensión del negocio</a:t>
            </a:r>
            <a:endParaRPr lang="es-ES" sz="180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67105" y="1196752"/>
            <a:ext cx="8496944" cy="720080"/>
          </a:xfrm>
        </p:spPr>
        <p:txBody>
          <a:bodyPr>
            <a:noAutofit/>
          </a:bodyPr>
          <a:lstStyle/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Los valores que indican la calidad del aire se pueden ver en la tabla adjunta</a:t>
            </a: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105" y="2176587"/>
            <a:ext cx="8696325" cy="419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0790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3191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 smtClean="0"/>
              <a:t>1.Comprensión del negocio</a:t>
            </a:r>
            <a:endParaRPr lang="es-ES" sz="180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02432" y="1052736"/>
            <a:ext cx="8496944" cy="1342975"/>
          </a:xfrm>
        </p:spPr>
        <p:txBody>
          <a:bodyPr>
            <a:noAutofit/>
          </a:bodyPr>
          <a:lstStyle/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El gráfico donde por ejemplo para Madrid se ven las estaciones de medida, los contaminantes con sus datos en las últimas 48 horas. </a:t>
            </a:r>
          </a:p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Así cómo se muestra ese histórico de 48 horas en los contaminantes se muestran también las características </a:t>
            </a:r>
            <a:r>
              <a:rPr lang="es-ES_trad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etereológicas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: temperatura, presión atmosférica,  humedad y viento.</a:t>
            </a: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4 Marcador de contenido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767900" y="2068637"/>
            <a:ext cx="7608199" cy="4324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907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810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/>
              <a:t>2</a:t>
            </a:r>
            <a:r>
              <a:rPr lang="es-ES_tradnl" sz="1800" dirty="0" smtClean="0"/>
              <a:t>.Comprensión de los datos</a:t>
            </a:r>
            <a:endParaRPr lang="es-ES" sz="180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02730" y="1469864"/>
            <a:ext cx="8496944" cy="504056"/>
          </a:xfrm>
        </p:spPr>
        <p:txBody>
          <a:bodyPr>
            <a:noAutofit/>
          </a:bodyPr>
          <a:lstStyle/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Para nuestro estudio recogemos los datos tanto de contaminantes como </a:t>
            </a:r>
            <a:r>
              <a:rPr lang="es-ES_trad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etereológicos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de los portales de datos abiertos de la comunidad de Madrid y del ayuntamiento de Madrid.</a:t>
            </a: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2219108"/>
            <a:ext cx="2924870" cy="1727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5" name="Picture 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4193552"/>
            <a:ext cx="3558554" cy="2199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6" name="Picture 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2488" y="2004628"/>
            <a:ext cx="3168352" cy="1942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7" name="Picture 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4388523"/>
            <a:ext cx="3597200" cy="2004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1 Título"/>
          <p:cNvSpPr txBox="1">
            <a:spLocks/>
          </p:cNvSpPr>
          <p:nvPr/>
        </p:nvSpPr>
        <p:spPr>
          <a:xfrm>
            <a:off x="536352" y="980728"/>
            <a:ext cx="8208912" cy="603684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1400" dirty="0" smtClean="0"/>
              <a:t>2.1 </a:t>
            </a:r>
            <a:r>
              <a:rPr lang="es-ES_tradnl" sz="1400" dirty="0"/>
              <a:t>Exploración y elección de los </a:t>
            </a:r>
            <a:r>
              <a:rPr lang="es-ES_tradnl" sz="1400" dirty="0" err="1"/>
              <a:t>datasets</a:t>
            </a:r>
            <a:endParaRPr lang="es-ES" sz="1400" dirty="0"/>
          </a:p>
        </p:txBody>
      </p:sp>
    </p:spTree>
    <p:extLst>
      <p:ext uri="{BB962C8B-B14F-4D97-AF65-F5344CB8AC3E}">
        <p14:creationId xmlns:p14="http://schemas.microsoft.com/office/powerpoint/2010/main" val="3374458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9094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/>
              <a:t>2</a:t>
            </a:r>
            <a:r>
              <a:rPr lang="es-ES_tradnl" sz="1800" dirty="0" smtClean="0"/>
              <a:t>.Comprensión de los datos </a:t>
            </a:r>
            <a:endParaRPr lang="es-ES" sz="180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02432" y="1052737"/>
            <a:ext cx="8496944" cy="504056"/>
          </a:xfrm>
        </p:spPr>
        <p:txBody>
          <a:bodyPr>
            <a:noAutofit/>
          </a:bodyPr>
          <a:lstStyle/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El formato de los </a:t>
            </a:r>
            <a:r>
              <a:rPr lang="es-ES_trad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ataset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tiene siempre el mismo formato , indicando la estación de medida, la magnitud a medir , la fecha y las 24 horas de medida con sus correspondientes validaciones : </a:t>
            </a: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10 Imagen"/>
          <p:cNvPicPr/>
          <p:nvPr/>
        </p:nvPicPr>
        <p:blipFill>
          <a:blip r:embed="rId8"/>
          <a:stretch>
            <a:fillRect/>
          </a:stretch>
        </p:blipFill>
        <p:spPr>
          <a:xfrm>
            <a:off x="1331640" y="1662569"/>
            <a:ext cx="5396230" cy="902335"/>
          </a:xfrm>
          <a:prstGeom prst="rect">
            <a:avLst/>
          </a:prstGeom>
        </p:spPr>
      </p:pic>
      <p:sp>
        <p:nvSpPr>
          <p:cNvPr id="12" name="2 Marcador de contenido"/>
          <p:cNvSpPr txBox="1">
            <a:spLocks/>
          </p:cNvSpPr>
          <p:nvPr/>
        </p:nvSpPr>
        <p:spPr>
          <a:xfrm>
            <a:off x="323528" y="2744924"/>
            <a:ext cx="8496944" cy="504056"/>
          </a:xfrm>
          <a:prstGeom prst="rect">
            <a:avLst/>
          </a:prstGeom>
        </p:spPr>
        <p:txBody>
          <a:bodyPr vert="horz">
            <a:noAutofit/>
          </a:bodyPr>
          <a:lstStyle>
            <a:lvl1pPr marL="365760" indent="-256032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•"/>
              <a:defRPr kumimoji="0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46888" algn="l" rtl="0" eaLnBrk="1" latinLnBrk="0" hangingPunct="1">
              <a:spcBef>
                <a:spcPts val="300"/>
              </a:spcBef>
              <a:buClr>
                <a:schemeClr val="accent2"/>
              </a:buClr>
              <a:buFont typeface="Georgia"/>
              <a:buChar char="▫"/>
              <a:defRPr kumimoji="0" sz="2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923544" indent="-219456" algn="l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 2"/>
              <a:buChar char=""/>
              <a:defRPr kumimoji="0"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179576" indent="-201168" algn="l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 2"/>
              <a:buChar char=""/>
              <a:defRPr kumimoji="0"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38988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Estas son las magnitudes de calidad del aire  y los factores por los que hay que multiplicar los datos de los  5 contaminantes, para poderlos comparar y sacar así el índice ICA. </a:t>
            </a:r>
          </a:p>
        </p:txBody>
      </p:sp>
      <p:pic>
        <p:nvPicPr>
          <p:cNvPr id="13" name="12 Imagen"/>
          <p:cNvPicPr/>
          <p:nvPr/>
        </p:nvPicPr>
        <p:blipFill>
          <a:blip r:embed="rId9"/>
          <a:stretch>
            <a:fillRect/>
          </a:stretch>
        </p:blipFill>
        <p:spPr>
          <a:xfrm>
            <a:off x="1043608" y="3501008"/>
            <a:ext cx="6624736" cy="259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762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5779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dirty="0"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08912" cy="792088"/>
          </a:xfrm>
        </p:spPr>
        <p:txBody>
          <a:bodyPr>
            <a:normAutofit/>
          </a:bodyPr>
          <a:lstStyle/>
          <a:p>
            <a:r>
              <a:rPr lang="es-ES_tradnl" sz="1800" dirty="0"/>
              <a:t>2</a:t>
            </a:r>
            <a:r>
              <a:rPr lang="es-ES_tradnl" sz="1800" dirty="0" smtClean="0"/>
              <a:t>.Comprensión </a:t>
            </a:r>
            <a:r>
              <a:rPr lang="es-ES_tradnl" sz="1800" dirty="0"/>
              <a:t>de los datos </a:t>
            </a:r>
            <a:endParaRPr lang="es-ES" sz="180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02432" y="1052736"/>
            <a:ext cx="3305472" cy="1008111"/>
          </a:xfrm>
        </p:spPr>
        <p:txBody>
          <a:bodyPr>
            <a:noAutofit/>
          </a:bodyPr>
          <a:lstStyle/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Las magnitudes </a:t>
            </a:r>
            <a:r>
              <a:rPr lang="es-ES_trad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etereológicas</a:t>
            </a:r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con sus unidades de medida son las siguientes:</a:t>
            </a: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6392987"/>
            <a:ext cx="4059382" cy="420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2 Marcador de contenido"/>
          <p:cNvSpPr txBox="1">
            <a:spLocks/>
          </p:cNvSpPr>
          <p:nvPr/>
        </p:nvSpPr>
        <p:spPr>
          <a:xfrm>
            <a:off x="3131840" y="2765872"/>
            <a:ext cx="5256584" cy="696478"/>
          </a:xfrm>
          <a:prstGeom prst="rect">
            <a:avLst/>
          </a:prstGeom>
        </p:spPr>
        <p:txBody>
          <a:bodyPr vert="horz">
            <a:noAutofit/>
          </a:bodyPr>
          <a:lstStyle>
            <a:lvl1pPr marL="365760" indent="-256032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•"/>
              <a:defRPr kumimoji="0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46888" algn="l" rtl="0" eaLnBrk="1" latinLnBrk="0" hangingPunct="1">
              <a:spcBef>
                <a:spcPts val="300"/>
              </a:spcBef>
              <a:buClr>
                <a:schemeClr val="accent2"/>
              </a:buClr>
              <a:buFont typeface="Georgia"/>
              <a:buChar char="▫"/>
              <a:defRPr kumimoji="0" sz="2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923544" indent="-219456" algn="l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 2"/>
              <a:buChar char=""/>
              <a:defRPr kumimoji="0"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179576" indent="-201168" algn="l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 2"/>
              <a:buChar char=""/>
              <a:defRPr kumimoji="0"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38988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_trad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Estas son las estaciones de medida, tanto del municipio de Madrid como de la comunidad de Madrid:</a:t>
            </a:r>
          </a:p>
        </p:txBody>
      </p:sp>
      <p:pic>
        <p:nvPicPr>
          <p:cNvPr id="10" name="9 Imagen"/>
          <p:cNvPicPr/>
          <p:nvPr/>
        </p:nvPicPr>
        <p:blipFill>
          <a:blip r:embed="rId8"/>
          <a:stretch>
            <a:fillRect/>
          </a:stretch>
        </p:blipFill>
        <p:spPr>
          <a:xfrm>
            <a:off x="3505026" y="1052736"/>
            <a:ext cx="5353050" cy="1733550"/>
          </a:xfrm>
          <a:prstGeom prst="rect">
            <a:avLst/>
          </a:prstGeom>
        </p:spPr>
      </p:pic>
      <p:pic>
        <p:nvPicPr>
          <p:cNvPr id="14" name="2 Imagen"/>
          <p:cNvPicPr/>
          <p:nvPr/>
        </p:nvPicPr>
        <p:blipFill>
          <a:blip r:embed="rId9"/>
          <a:stretch>
            <a:fillRect/>
          </a:stretch>
        </p:blipFill>
        <p:spPr>
          <a:xfrm>
            <a:off x="3232185" y="3284984"/>
            <a:ext cx="3543726" cy="2988994"/>
          </a:xfrm>
          <a:prstGeom prst="rect">
            <a:avLst/>
          </a:prstGeom>
        </p:spPr>
      </p:pic>
      <p:pic>
        <p:nvPicPr>
          <p:cNvPr id="15" name="14 Imagen"/>
          <p:cNvPicPr/>
          <p:nvPr/>
        </p:nvPicPr>
        <p:blipFill>
          <a:blip r:embed="rId10"/>
          <a:stretch>
            <a:fillRect/>
          </a:stretch>
        </p:blipFill>
        <p:spPr>
          <a:xfrm>
            <a:off x="535484" y="2388939"/>
            <a:ext cx="2209800" cy="442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117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RzUWHKNlZlZxP8v7Wnn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QdeN_EOi7Av5Dm1qx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mLWH5PBngEbJ0Z.Poy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jE0u9t5SvTgsTz3uZC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jE0u9t5SvTgsTz3uZC1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Urbano">
  <a:themeElements>
    <a:clrScheme name="Urbano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Urbano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eorgia"/>
        <a:ea typeface=""/>
        <a:cs typeface=""/>
        <a:font script="Jpan" typeface="HG明朝B"/>
        <a:font script="Hang" typeface="맑은 고딕"/>
        <a:font script="Hans" typeface="宋体"/>
        <a:font script="Hant" typeface="新細明體"/>
        <a:font script="Arab" typeface="Arial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Urbano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255000"/>
              </a:schemeClr>
            </a:gs>
            <a:gs pos="55000">
              <a:schemeClr val="phClr">
                <a:tint val="12000"/>
                <a:satMod val="255000"/>
              </a:schemeClr>
            </a:gs>
            <a:gs pos="100000">
              <a:schemeClr val="phClr">
                <a:tint val="45000"/>
                <a:satMod val="250000"/>
              </a:schemeClr>
            </a:gs>
          </a:gsLst>
          <a:path path="circle">
            <a:fillToRect l="-40000" t="-90000" r="140000" b="190000"/>
          </a:path>
        </a:gradFill>
        <a:gradFill rotWithShape="1">
          <a:gsLst>
            <a:gs pos="0">
              <a:schemeClr val="phClr">
                <a:tint val="43000"/>
                <a:satMod val="165000"/>
              </a:schemeClr>
            </a:gs>
            <a:gs pos="55000">
              <a:schemeClr val="phClr">
                <a:tint val="83000"/>
                <a:satMod val="155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-40000" t="-90000" r="140000" b="19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15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flat" dir="t">
              <a:rot lat="0" lon="0" rev="20040000"/>
            </a:lightRig>
          </a:scene3d>
          <a:sp3d contourW="12700" prstMaterial="dkEdge">
            <a:bevelT w="25400" h="38100" prst="convex"/>
            <a:contourClr>
              <a:schemeClr val="phClr">
                <a:satMod val="115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100000">
              <a:schemeClr val="phClr">
                <a:tint val="80000"/>
                <a:satMod val="250000"/>
              </a:schemeClr>
            </a:gs>
            <a:gs pos="60000">
              <a:schemeClr val="phClr">
                <a:shade val="38000"/>
                <a:satMod val="175000"/>
              </a:schemeClr>
            </a:gs>
            <a:gs pos="0">
              <a:schemeClr val="phClr">
                <a:shade val="30000"/>
                <a:satMod val="17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</a:schemeClr>
              <a:schemeClr val="phClr">
                <a:tint val="96000"/>
                <a:satMod val="150000"/>
              </a:schemeClr>
            </a:duotone>
          </a:blip>
          <a:tile tx="0" ty="0" sx="80000" sy="8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Urban</Template>
  <TotalTime>257</TotalTime>
  <Words>825</Words>
  <Application>Microsoft Office PowerPoint</Application>
  <PresentationFormat>Presentación en pantalla (4:3)</PresentationFormat>
  <Paragraphs>70</Paragraphs>
  <Slides>22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2</vt:i4>
      </vt:variant>
    </vt:vector>
  </HeadingPairs>
  <TitlesOfParts>
    <vt:vector size="24" baseType="lpstr">
      <vt:lpstr>Urbano</vt:lpstr>
      <vt:lpstr>Diapositiva de think-cell</vt:lpstr>
      <vt:lpstr>Calidad del aire en la Comunidad de Madrid </vt:lpstr>
      <vt:lpstr>Para coordinarnos el equipo hemos utilizado Trello</vt:lpstr>
      <vt:lpstr>Para realizar el estudio de la calidad del aire utilizamos la metedologia CRISP-DM </vt:lpstr>
      <vt:lpstr>1.Comprensión del negocio</vt:lpstr>
      <vt:lpstr>1.Comprensión del negocio</vt:lpstr>
      <vt:lpstr>1.Comprensión del negocio</vt:lpstr>
      <vt:lpstr>2.Comprensión de los datos</vt:lpstr>
      <vt:lpstr>2.Comprensión de los datos </vt:lpstr>
      <vt:lpstr>2.Comprensión de los datos </vt:lpstr>
      <vt:lpstr>3.Preparación de los datos</vt:lpstr>
      <vt:lpstr>3.Preparación de los datos</vt:lpstr>
      <vt:lpstr>3.Preparación de los datos</vt:lpstr>
      <vt:lpstr>3.Preparación de los datos</vt:lpstr>
      <vt:lpstr>3.Preparación de los datos</vt:lpstr>
      <vt:lpstr>3.Preparación de los datos</vt:lpstr>
      <vt:lpstr>3.Preparación de los datos</vt:lpstr>
      <vt:lpstr>3.Preparación de los datos</vt:lpstr>
      <vt:lpstr>3.Preparación de los datos</vt:lpstr>
      <vt:lpstr>4. Modelado</vt:lpstr>
      <vt:lpstr>4. Modelado</vt:lpstr>
      <vt:lpstr>4. Modelado</vt:lpstr>
      <vt:lpstr>4. Modelado</vt:lpstr>
    </vt:vector>
  </TitlesOfParts>
  <Company>ORANGE FT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lidad del aire</dc:title>
  <dc:creator>VARA  ALONSO, SUSANA</dc:creator>
  <cp:lastModifiedBy>VARA  ALONSO, SUSANA</cp:lastModifiedBy>
  <cp:revision>26</cp:revision>
  <dcterms:created xsi:type="dcterms:W3CDTF">2020-06-16T16:33:49Z</dcterms:created>
  <dcterms:modified xsi:type="dcterms:W3CDTF">2020-06-17T15:38:04Z</dcterms:modified>
</cp:coreProperties>
</file>